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37.xml" ContentType="application/vnd.openxmlformats-officedocument.presentationml.tags+xml"/>
  <Override PartName="/ppt/charts/chart8.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39.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40.xml" ContentType="application/vnd.openxmlformats-officedocument.presentationml.tags+xml"/>
  <Override PartName="/ppt/charts/chart11.xml" ContentType="application/vnd.openxmlformats-officedocument.drawingml.chart+xml"/>
  <Override PartName="/ppt/tags/tag41.xml" ContentType="application/vnd.openxmlformats-officedocument.presentationml.tags+xml"/>
  <Override PartName="/ppt/charts/chart12.xml" ContentType="application/vnd.openxmlformats-officedocument.drawingml.chart+xml"/>
  <Override PartName="/ppt/tags/tag42.xml" ContentType="application/vnd.openxmlformats-officedocument.presentationml.tags+xml"/>
  <Override PartName="/ppt/charts/chart13.xml" ContentType="application/vnd.openxmlformats-officedocument.drawingml.chart+xml"/>
  <Override PartName="/ppt/tags/tag43.xml" ContentType="application/vnd.openxmlformats-officedocument.presentationml.tags+xml"/>
  <Override PartName="/ppt/charts/chart14.xml" ContentType="application/vnd.openxmlformats-officedocument.drawingml.chart+xml"/>
  <Override PartName="/ppt/tags/tag44.xml" ContentType="application/vnd.openxmlformats-officedocument.presentationml.tags+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tags/tag45.xml" ContentType="application/vnd.openxmlformats-officedocument.presentationml.tag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46.xml" ContentType="application/vnd.openxmlformats-officedocument.presentationml.tags+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tags/tag47.xml" ContentType="application/vnd.openxmlformats-officedocument.presentationml.tags+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tags/tag48.xml" ContentType="application/vnd.openxmlformats-officedocument.presentationml.tags+xml"/>
  <Override PartName="/ppt/charts/chart26.xml" ContentType="application/vnd.openxmlformats-officedocument.drawingml.chart+xml"/>
  <Override PartName="/ppt/tags/tag49.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50.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51.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53.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4.xml" ContentType="application/vnd.openxmlformats-officedocument.presentationml.tags+xml"/>
  <Override PartName="/ppt/notesSlides/notesSlide8.xml" ContentType="application/vnd.openxmlformats-officedocument.presentationml.notesSlide+xml"/>
  <Override PartName="/ppt/charts/chart47.xml" ContentType="application/vnd.openxmlformats-officedocument.drawingml.chart+xml"/>
  <Override PartName="/ppt/charts/style16.xml" ContentType="application/vnd.ms-office.chartstyle+xml"/>
  <Override PartName="/ppt/charts/colors16.xml" ContentType="application/vnd.ms-office.chartcolorstyle+xml"/>
  <Override PartName="/ppt/tags/tag55.xml" ContentType="application/vnd.openxmlformats-officedocument.presentationml.tags+xml"/>
  <Override PartName="/ppt/notesSlides/notesSlide9.xml" ContentType="application/vnd.openxmlformats-officedocument.presentationml.notesSlide+xml"/>
  <Override PartName="/ppt/charts/chart4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9.xml" ContentType="application/vnd.openxmlformats-officedocument.drawingml.chart+xml"/>
  <Override PartName="/ppt/charts/style18.xml" ContentType="application/vnd.ms-office.chartstyle+xml"/>
  <Override PartName="/ppt/charts/colors18.xml" ContentType="application/vnd.ms-office.chartcolorstyle+xml"/>
  <Override PartName="/ppt/tags/tag56.xml" ContentType="application/vnd.openxmlformats-officedocument.presentationml.tags+xml"/>
  <Override PartName="/ppt/notesSlides/notesSlide10.xml" ContentType="application/vnd.openxmlformats-officedocument.presentationml.notesSlide+xml"/>
  <Override PartName="/ppt/charts/chart5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5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52.xml" ContentType="application/vnd.openxmlformats-officedocument.drawingml.chart+xml"/>
  <Override PartName="/ppt/charts/style21.xml" ContentType="application/vnd.ms-office.chartstyle+xml"/>
  <Override PartName="/ppt/charts/colors21.xml" ContentType="application/vnd.ms-office.chartcolorstyle+xml"/>
  <Override PartName="/ppt/tags/tag57.xml" ContentType="application/vnd.openxmlformats-officedocument.presentationml.tags+xml"/>
  <Override PartName="/ppt/notesSlides/notesSlide11.xml" ContentType="application/vnd.openxmlformats-officedocument.presentationml.notesSlide+xml"/>
  <Override PartName="/ppt/charts/chart5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5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5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56.xml" ContentType="application/vnd.openxmlformats-officedocument.drawingml.chart+xml"/>
  <Override PartName="/ppt/charts/style25.xml" ContentType="application/vnd.ms-office.chartstyle+xml"/>
  <Override PartName="/ppt/charts/colors25.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35"/>
  </p:notesMasterIdLst>
  <p:sldIdLst>
    <p:sldId id="2147329454" r:id="rId5"/>
    <p:sldId id="2147475152" r:id="rId6"/>
    <p:sldId id="2147475178" r:id="rId7"/>
    <p:sldId id="2147473013" r:id="rId8"/>
    <p:sldId id="2147475151" r:id="rId9"/>
    <p:sldId id="2147473025" r:id="rId10"/>
    <p:sldId id="2147473029" r:id="rId11"/>
    <p:sldId id="2147473030" r:id="rId12"/>
    <p:sldId id="2147378510" r:id="rId13"/>
    <p:sldId id="2147378508" r:id="rId14"/>
    <p:sldId id="2147472930" r:id="rId15"/>
    <p:sldId id="2147473037" r:id="rId16"/>
    <p:sldId id="2147378386" r:id="rId17"/>
    <p:sldId id="2147471718" r:id="rId18"/>
    <p:sldId id="2147475156" r:id="rId19"/>
    <p:sldId id="2147378154" r:id="rId20"/>
    <p:sldId id="2147378155" r:id="rId21"/>
    <p:sldId id="2147378156" r:id="rId22"/>
    <p:sldId id="2147378157" r:id="rId23"/>
    <p:sldId id="2147473882" r:id="rId24"/>
    <p:sldId id="2147475174" r:id="rId25"/>
    <p:sldId id="2147475173" r:id="rId26"/>
    <p:sldId id="2147475171" r:id="rId27"/>
    <p:sldId id="2147475170" r:id="rId28"/>
    <p:sldId id="370" r:id="rId29"/>
    <p:sldId id="2147475172" r:id="rId30"/>
    <p:sldId id="2147475182" r:id="rId31"/>
    <p:sldId id="2147475181" r:id="rId32"/>
    <p:sldId id="2147475180" r:id="rId33"/>
    <p:sldId id="2147475179" r:id="rId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91" d="100"/>
          <a:sy n="91" d="100"/>
        </p:scale>
        <p:origin x="84" y="6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DEC2644B-FBB3-4E70-8177-D39ED5E85D5B}"/>
    <pc:docChg chg="custSel modSld delMainMaster">
      <pc:chgData name="Neriman EL HADIDI" userId="4b24840c-84b3-44ac-9131-ca3568cb403b" providerId="ADAL" clId="{DEC2644B-FBB3-4E70-8177-D39ED5E85D5B}" dt="2024-11-01T09:06:09.704" v="16" actId="27918"/>
      <pc:docMkLst>
        <pc:docMk/>
      </pc:docMkLst>
      <pc:sldChg chg="delSp mod">
        <pc:chgData name="Neriman EL HADIDI" userId="4b24840c-84b3-44ac-9131-ca3568cb403b" providerId="ADAL" clId="{DEC2644B-FBB3-4E70-8177-D39ED5E85D5B}" dt="2024-11-01T09:05:30.544" v="12" actId="478"/>
        <pc:sldMkLst>
          <pc:docMk/>
          <pc:sldMk cId="3644918162" sldId="370"/>
        </pc:sldMkLst>
        <pc:spChg chg="del">
          <ac:chgData name="Neriman EL HADIDI" userId="4b24840c-84b3-44ac-9131-ca3568cb403b" providerId="ADAL" clId="{DEC2644B-FBB3-4E70-8177-D39ED5E85D5B}" dt="2024-11-01T09:05:30.544" v="12" actId="478"/>
          <ac:spMkLst>
            <pc:docMk/>
            <pc:sldMk cId="3644918162" sldId="370"/>
            <ac:spMk id="2" creationId="{6F37D498-61D2-430B-0FFE-1D6053FC2C2E}"/>
          </ac:spMkLst>
        </pc:spChg>
        <pc:spChg chg="del">
          <ac:chgData name="Neriman EL HADIDI" userId="4b24840c-84b3-44ac-9131-ca3568cb403b" providerId="ADAL" clId="{DEC2644B-FBB3-4E70-8177-D39ED5E85D5B}" dt="2024-11-01T09:05:30.544" v="12" actId="478"/>
          <ac:spMkLst>
            <pc:docMk/>
            <pc:sldMk cId="3644918162" sldId="370"/>
            <ac:spMk id="3" creationId="{E672400A-1108-3E3C-7422-CBA7B51FF8C8}"/>
          </ac:spMkLst>
        </pc:spChg>
      </pc:sldChg>
      <pc:sldChg chg="modSp mod">
        <pc:chgData name="Neriman EL HADIDI" userId="4b24840c-84b3-44ac-9131-ca3568cb403b" providerId="ADAL" clId="{DEC2644B-FBB3-4E70-8177-D39ED5E85D5B}" dt="2024-11-01T09:06:09.704" v="16" actId="27918"/>
        <pc:sldMkLst>
          <pc:docMk/>
          <pc:sldMk cId="1411033201" sldId="408"/>
        </pc:sldMkLst>
        <pc:graphicFrameChg chg="mod">
          <ac:chgData name="Neriman EL HADIDI" userId="4b24840c-84b3-44ac-9131-ca3568cb403b" providerId="ADAL" clId="{DEC2644B-FBB3-4E70-8177-D39ED5E85D5B}" dt="2024-11-01T09:05:51.351" v="13"/>
          <ac:graphicFrameMkLst>
            <pc:docMk/>
            <pc:sldMk cId="1411033201" sldId="408"/>
            <ac:graphicFrameMk id="16" creationId="{1500463F-9113-F853-0F0E-F384F111BD54}"/>
          </ac:graphicFrameMkLst>
        </pc:graphicFrameChg>
      </pc:sldChg>
      <pc:sldChg chg="modSp">
        <pc:chgData name="Neriman EL HADIDI" userId="4b24840c-84b3-44ac-9131-ca3568cb403b" providerId="ADAL" clId="{DEC2644B-FBB3-4E70-8177-D39ED5E85D5B}" dt="2024-11-01T09:01:17.763" v="4"/>
        <pc:sldMkLst>
          <pc:docMk/>
          <pc:sldMk cId="2693478404" sldId="2147329454"/>
        </pc:sldMkLst>
        <pc:graphicFrameChg chg="mod">
          <ac:chgData name="Neriman EL HADIDI" userId="4b24840c-84b3-44ac-9131-ca3568cb403b" providerId="ADAL" clId="{DEC2644B-FBB3-4E70-8177-D39ED5E85D5B}" dt="2024-11-01T09:01:10.407" v="3"/>
          <ac:graphicFrameMkLst>
            <pc:docMk/>
            <pc:sldMk cId="2693478404" sldId="2147329454"/>
            <ac:graphicFrameMk id="16" creationId="{D7F2F964-1E28-4339-8493-893E64CC273B}"/>
          </ac:graphicFrameMkLst>
        </pc:graphicFrameChg>
        <pc:graphicFrameChg chg="mod">
          <ac:chgData name="Neriman EL HADIDI" userId="4b24840c-84b3-44ac-9131-ca3568cb403b" providerId="ADAL" clId="{DEC2644B-FBB3-4E70-8177-D39ED5E85D5B}" dt="2024-11-01T09:01:17.763" v="4"/>
          <ac:graphicFrameMkLst>
            <pc:docMk/>
            <pc:sldMk cId="2693478404" sldId="2147329454"/>
            <ac:graphicFrameMk id="22" creationId="{B6BC63DB-BB68-E22B-6F46-70632876165B}"/>
          </ac:graphicFrameMkLst>
        </pc:graphicFrameChg>
      </pc:sldChg>
      <pc:sldChg chg="modSp">
        <pc:chgData name="Neriman EL HADIDI" userId="4b24840c-84b3-44ac-9131-ca3568cb403b" providerId="ADAL" clId="{DEC2644B-FBB3-4E70-8177-D39ED5E85D5B}" dt="2024-11-01T09:04:49.391" v="10"/>
        <pc:sldMkLst>
          <pc:docMk/>
          <pc:sldMk cId="1340521327" sldId="2147378386"/>
        </pc:sldMkLst>
        <pc:graphicFrameChg chg="mod">
          <ac:chgData name="Neriman EL HADIDI" userId="4b24840c-84b3-44ac-9131-ca3568cb403b" providerId="ADAL" clId="{DEC2644B-FBB3-4E70-8177-D39ED5E85D5B}" dt="2024-11-01T09:04:49.391" v="10"/>
          <ac:graphicFrameMkLst>
            <pc:docMk/>
            <pc:sldMk cId="1340521327" sldId="2147378386"/>
            <ac:graphicFrameMk id="22" creationId="{BDCCA8F9-9B4E-4C69-981A-F30479D8A570}"/>
          </ac:graphicFrameMkLst>
        </pc:graphicFrameChg>
      </pc:sldChg>
      <pc:sldChg chg="modSp mod">
        <pc:chgData name="Neriman EL HADIDI" userId="4b24840c-84b3-44ac-9131-ca3568cb403b" providerId="ADAL" clId="{DEC2644B-FBB3-4E70-8177-D39ED5E85D5B}" dt="2024-11-01T09:00:54.519" v="2" actId="14100"/>
        <pc:sldMkLst>
          <pc:docMk/>
          <pc:sldMk cId="1380102355" sldId="2147378506"/>
        </pc:sldMkLst>
        <pc:graphicFrameChg chg="mod modGraphic">
          <ac:chgData name="Neriman EL HADIDI" userId="4b24840c-84b3-44ac-9131-ca3568cb403b" providerId="ADAL" clId="{DEC2644B-FBB3-4E70-8177-D39ED5E85D5B}" dt="2024-11-01T09:00:54.519" v="2" actId="14100"/>
          <ac:graphicFrameMkLst>
            <pc:docMk/>
            <pc:sldMk cId="1380102355" sldId="2147378506"/>
            <ac:graphicFrameMk id="3" creationId="{BF02A555-6E65-401F-8EC5-C5F12914697A}"/>
          </ac:graphicFrameMkLst>
        </pc:graphicFrameChg>
      </pc:sldChg>
      <pc:sldChg chg="modSp">
        <pc:chgData name="Neriman EL HADIDI" userId="4b24840c-84b3-44ac-9131-ca3568cb403b" providerId="ADAL" clId="{DEC2644B-FBB3-4E70-8177-D39ED5E85D5B}" dt="2024-11-01T09:03:55.942" v="9"/>
        <pc:sldMkLst>
          <pc:docMk/>
          <pc:sldMk cId="3546637518" sldId="2147378510"/>
        </pc:sldMkLst>
        <pc:graphicFrameChg chg="mod">
          <ac:chgData name="Neriman EL HADIDI" userId="4b24840c-84b3-44ac-9131-ca3568cb403b" providerId="ADAL" clId="{DEC2644B-FBB3-4E70-8177-D39ED5E85D5B}" dt="2024-11-01T09:03:55.942" v="9"/>
          <ac:graphicFrameMkLst>
            <pc:docMk/>
            <pc:sldMk cId="3546637518" sldId="2147378510"/>
            <ac:graphicFrameMk id="6" creationId="{903336ED-9778-D2E5-A3B1-EA932B617DB3}"/>
          </ac:graphicFrameMkLst>
        </pc:graphicFrameChg>
        <pc:graphicFrameChg chg="mod">
          <ac:chgData name="Neriman EL HADIDI" userId="4b24840c-84b3-44ac-9131-ca3568cb403b" providerId="ADAL" clId="{DEC2644B-FBB3-4E70-8177-D39ED5E85D5B}" dt="2024-11-01T09:03:47.948" v="8"/>
          <ac:graphicFrameMkLst>
            <pc:docMk/>
            <pc:sldMk cId="3546637518" sldId="2147378510"/>
            <ac:graphicFrameMk id="20" creationId="{4F1AC2C4-E03E-4D63-9CFE-5DD45DD67548}"/>
          </ac:graphicFrameMkLst>
        </pc:graphicFrameChg>
      </pc:sldChg>
      <pc:sldChg chg="modSp">
        <pc:chgData name="Neriman EL HADIDI" userId="4b24840c-84b3-44ac-9131-ca3568cb403b" providerId="ADAL" clId="{DEC2644B-FBB3-4E70-8177-D39ED5E85D5B}" dt="2024-11-01T09:04:58.900" v="11"/>
        <pc:sldMkLst>
          <pc:docMk/>
          <pc:sldMk cId="2800720980" sldId="2147471718"/>
        </pc:sldMkLst>
        <pc:graphicFrameChg chg="mod">
          <ac:chgData name="Neriman EL HADIDI" userId="4b24840c-84b3-44ac-9131-ca3568cb403b" providerId="ADAL" clId="{DEC2644B-FBB3-4E70-8177-D39ED5E85D5B}" dt="2024-11-01T09:04:58.900" v="11"/>
          <ac:graphicFrameMkLst>
            <pc:docMk/>
            <pc:sldMk cId="2800720980" sldId="2147471718"/>
            <ac:graphicFrameMk id="22" creationId="{BDCCA8F9-9B4E-4C69-981A-F30479D8A570}"/>
          </ac:graphicFrameMkLst>
        </pc:graphicFrameChg>
      </pc:sldChg>
      <pc:sldChg chg="modSp mod">
        <pc:chgData name="Neriman EL HADIDI" userId="4b24840c-84b3-44ac-9131-ca3568cb403b" providerId="ADAL" clId="{DEC2644B-FBB3-4E70-8177-D39ED5E85D5B}" dt="2024-11-01T09:06:06.280" v="15" actId="27918"/>
        <pc:sldMkLst>
          <pc:docMk/>
          <pc:sldMk cId="354591731" sldId="2147473384"/>
        </pc:sldMkLst>
        <pc:graphicFrameChg chg="mod">
          <ac:chgData name="Neriman EL HADIDI" userId="4b24840c-84b3-44ac-9131-ca3568cb403b" providerId="ADAL" clId="{DEC2644B-FBB3-4E70-8177-D39ED5E85D5B}" dt="2024-11-01T09:06:02.513" v="14"/>
          <ac:graphicFrameMkLst>
            <pc:docMk/>
            <pc:sldMk cId="354591731" sldId="2147473384"/>
            <ac:graphicFrameMk id="16" creationId="{1500463F-9113-F853-0F0E-F384F111BD54}"/>
          </ac:graphicFrameMkLst>
        </pc:graphicFrameChg>
      </pc:sldChg>
      <pc:sldChg chg="delSp mod">
        <pc:chgData name="Neriman EL HADIDI" userId="4b24840c-84b3-44ac-9131-ca3568cb403b" providerId="ADAL" clId="{DEC2644B-FBB3-4E70-8177-D39ED5E85D5B}" dt="2024-11-01T09:02:21.352" v="5" actId="478"/>
        <pc:sldMkLst>
          <pc:docMk/>
          <pc:sldMk cId="3548136992" sldId="2147475151"/>
        </pc:sldMkLst>
        <pc:spChg chg="del">
          <ac:chgData name="Neriman EL HADIDI" userId="4b24840c-84b3-44ac-9131-ca3568cb403b" providerId="ADAL" clId="{DEC2644B-FBB3-4E70-8177-D39ED5E85D5B}" dt="2024-11-01T09:02:21.352" v="5" actId="478"/>
          <ac:spMkLst>
            <pc:docMk/>
            <pc:sldMk cId="3548136992" sldId="2147475151"/>
            <ac:spMk id="13" creationId="{07164268-310E-52F7-2DCD-44921744491C}"/>
          </ac:spMkLst>
        </pc:spChg>
      </pc:sldChg>
      <pc:sldMasterChg chg="del">
        <pc:chgData name="Neriman EL HADIDI" userId="4b24840c-84b3-44ac-9131-ca3568cb403b" providerId="ADAL" clId="{DEC2644B-FBB3-4E70-8177-D39ED5E85D5B}" dt="2024-11-01T09:00:26.894" v="0" actId="2696"/>
        <pc:sldMasterMkLst>
          <pc:docMk/>
          <pc:sldMasterMk cId="823099819" sldId="2147483792"/>
        </pc:sldMasterMkLst>
      </pc:sldMasterChg>
      <pc:sldMasterChg chg="del">
        <pc:chgData name="Neriman EL HADIDI" userId="4b24840c-84b3-44ac-9131-ca3568cb403b" providerId="ADAL" clId="{DEC2644B-FBB3-4E70-8177-D39ED5E85D5B}" dt="2024-11-01T09:00:36.050" v="1" actId="2696"/>
        <pc:sldMasterMkLst>
          <pc:docMk/>
          <pc:sldMasterMk cId="2323846169" sldId="2147483844"/>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0.xml"/><Relationship Id="rId1" Type="http://schemas.microsoft.com/office/2011/relationships/chartStyle" Target="style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1.xml"/><Relationship Id="rId1" Type="http://schemas.microsoft.com/office/2011/relationships/chartStyle" Target="style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2.xml"/><Relationship Id="rId1" Type="http://schemas.microsoft.com/office/2011/relationships/chartStyle" Target="style1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3.xml"/><Relationship Id="rId1" Type="http://schemas.microsoft.com/office/2011/relationships/chartStyle" Target="style1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16.xml"/><Relationship Id="rId1" Type="http://schemas.microsoft.com/office/2011/relationships/chartStyle" Target="style1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17.xml"/><Relationship Id="rId1" Type="http://schemas.microsoft.com/office/2011/relationships/chartStyle" Target="style1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8.xml"/><Relationship Id="rId1" Type="http://schemas.microsoft.com/office/2011/relationships/chartStyle" Target="style1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9.xml"/><Relationship Id="rId1" Type="http://schemas.microsoft.com/office/2011/relationships/chartStyle" Target="style19.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20.xml"/><Relationship Id="rId1" Type="http://schemas.microsoft.com/office/2011/relationships/chartStyle" Target="style20.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21.xml"/><Relationship Id="rId1" Type="http://schemas.microsoft.com/office/2011/relationships/chartStyle" Target="style21.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22.xml"/><Relationship Id="rId1" Type="http://schemas.microsoft.com/office/2011/relationships/chartStyle" Target="style22.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23.xml"/><Relationship Id="rId1" Type="http://schemas.microsoft.com/office/2011/relationships/chartStyle" Target="style23.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24.xml"/><Relationship Id="rId1" Type="http://schemas.microsoft.com/office/2011/relationships/chartStyle" Target="style24.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5.xml"/><Relationship Id="rId1" Type="http://schemas.microsoft.com/office/2011/relationships/chartStyle" Target="style2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TPR</c:v>
                </c:pt>
              </c:strCache>
            </c:strRef>
          </c:tx>
          <c:spPr>
            <a:solidFill>
              <a:schemeClr val="accent2">
                <a:shade val="76000"/>
              </a:schemeClr>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rbi Dario Spa</c:v>
                </c:pt>
                <c:pt idx="1">
                  <c:v>Esca Srl</c:v>
                </c:pt>
                <c:pt idx="2">
                  <c:v>Findus</c:v>
                </c:pt>
                <c:pt idx="3">
                  <c:v>Frosta</c:v>
                </c:pt>
                <c:pt idx="4">
                  <c:v>Krusta Group</c:v>
                </c:pt>
                <c:pt idx="5">
                  <c:v>New Food</c:v>
                </c:pt>
                <c:pt idx="6">
                  <c:v>Panapesca</c:v>
                </c:pt>
                <c:pt idx="7">
                  <c:v>Pescanova S.A.</c:v>
                </c:pt>
                <c:pt idx="8">
                  <c:v>Private Label</c:v>
                </c:pt>
              </c:strCache>
            </c:strRef>
          </c:cat>
          <c:val>
            <c:numRef>
              <c:f>Sheet1!$B$2:$B$10</c:f>
              <c:numCache>
                <c:formatCode>General</c:formatCode>
                <c:ptCount val="9"/>
                <c:pt idx="0">
                  <c:v>0.97553731504482122</c:v>
                </c:pt>
                <c:pt idx="1">
                  <c:v>1</c:v>
                </c:pt>
                <c:pt idx="2">
                  <c:v>0.96560128666794454</c:v>
                </c:pt>
                <c:pt idx="3">
                  <c:v>1</c:v>
                </c:pt>
                <c:pt idx="4">
                  <c:v>4.2670982812054552E-2</c:v>
                </c:pt>
                <c:pt idx="5">
                  <c:v>1</c:v>
                </c:pt>
                <c:pt idx="6">
                  <c:v>0.71063588973412994</c:v>
                </c:pt>
                <c:pt idx="7">
                  <c:v>4.152747056740308E-2</c:v>
                </c:pt>
                <c:pt idx="8">
                  <c:v>0.8831725760195916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c:v>
                </c:pt>
              </c:strCache>
            </c:strRef>
          </c:tx>
          <c:spPr>
            <a:solidFill>
              <a:schemeClr val="accent2">
                <a:tint val="77000"/>
              </a:schemeClr>
            </a:solidFill>
            <a:ln>
              <a:no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rbi Dario Spa</c:v>
                </c:pt>
                <c:pt idx="1">
                  <c:v>Esca Srl</c:v>
                </c:pt>
                <c:pt idx="2">
                  <c:v>Findus</c:v>
                </c:pt>
                <c:pt idx="3">
                  <c:v>Frosta</c:v>
                </c:pt>
                <c:pt idx="4">
                  <c:v>Krusta Group</c:v>
                </c:pt>
                <c:pt idx="5">
                  <c:v>New Food</c:v>
                </c:pt>
                <c:pt idx="6">
                  <c:v>Panapesca</c:v>
                </c:pt>
                <c:pt idx="7">
                  <c:v>Pescanova S.A.</c:v>
                </c:pt>
                <c:pt idx="8">
                  <c:v>Private Label</c:v>
                </c:pt>
              </c:strCache>
            </c:strRef>
          </c:cat>
          <c:val>
            <c:numRef>
              <c:f>Sheet1!$C$2:$C$10</c:f>
              <c:numCache>
                <c:formatCode>General</c:formatCode>
                <c:ptCount val="9"/>
                <c:pt idx="0">
                  <c:v>2.446268495517874E-2</c:v>
                </c:pt>
                <c:pt idx="2">
                  <c:v>3.4398713332055492E-2</c:v>
                </c:pt>
                <c:pt idx="4">
                  <c:v>0.9573290171879455</c:v>
                </c:pt>
                <c:pt idx="6">
                  <c:v>0.28936411026586994</c:v>
                </c:pt>
                <c:pt idx="7">
                  <c:v>0.95847252943259698</c:v>
                </c:pt>
                <c:pt idx="8">
                  <c:v>0.1168274239804084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756328472E-2"/>
          <c:y val="3.7948661595622463E-2"/>
          <c:w val="0.93691511195956778"/>
          <c:h val="0.78210123658438346"/>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Feature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1018634592872957"/>
          <c:y val="0.9195782501361186"/>
          <c:w val="0.34355071262700604"/>
          <c:h val="8.0421749863881425E-2"/>
        </c:manualLayout>
      </c:layou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8980341809E-2"/>
          <c:y val="4.1660304546965121E-2"/>
          <c:w val="0.93691511195956778"/>
          <c:h val="0.7820524939432844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Display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6596513476788334"/>
          <c:y val="0.92935175768467493"/>
          <c:w val="0.26493263520201288"/>
          <c:h val="6.3586476328904809E-2"/>
        </c:manualLayout>
      </c:layou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9B64DEA2-E235-40F8-80EC-6E2E67AC4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C5F8F695-6134-4F3A-9549-97F1A8540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363EDFA9-9EE3-4358-8A2E-622EA3714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B973554E-2845-4030-8320-BE0DE8C94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104D5DEF-A6C2-49AF-B4EE-4B2E1CB47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ECD30254-FCC0-4B7C-AFCB-04D2E5A48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443DBB9C-E920-449A-88DF-34EBB295D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26907903-17B3-4904-9405-8FF203D19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70C5BE5C-52F9-4CE4-8E31-3BB7F8B51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3C6C643B-D60F-4A1B-AD6A-B304897DA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1748C6FD-B73F-4167-9AEB-1845D0955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8D25AA93-123F-4B86-A52C-DB72F2628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5ABAAF8B-80FB-4CDD-B143-222A94904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B7423ED3-ABD6-43CF-B83F-4127B0870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596FFBEC-030C-45AA-B015-FD1D989D9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79781DC7-68EC-4066-9430-E8814E763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A2B7D529-58A8-45D3-B9A5-C8B9F0DDA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FFF4F59B-08EB-46E6-97CD-9A924322D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730ACD06-821D-4C18-8584-E36E2A3A0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60B6A27C-6387-459B-85A9-502DD3264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92AA4452-9187-4C8E-B5BA-2B25F156B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91F6D704-C75A-49A9-961B-49784AD0D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66BC5470-9B71-4F2D-BE32-244F6EA0B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CC8D9707-C521-466A-8636-92FD2CF77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72893E1C-6D0C-4B52-A5D2-7E1C3DD84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E4159BF1-07A0-4F1C-8B53-CF0439A85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2F95C51B-D7DF-4D57-8C0A-EB6600570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CC03FE77-FDAE-42CF-9B52-41EAF4B88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33FFBF7F-95C5-4D05-98B5-AA800B584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E7682999-D75C-4BAD-A4A1-E51B324DA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C671662E-88F2-479E-9F53-6404D952A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94F3BCD0-CACC-4B05-BC56-9EF51B8DB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631939BC-5459-44A1-A5E2-0A450EAF9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E9A0BCBE-94E3-4A37-8DF8-95CD27A12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13363668-D7E1-460C-81B6-6E6EA8E8B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96A9770A-87B8-42AF-A659-B1AA409F3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EA379F7D-B07C-4AE5-AFE0-192080AA5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49271832-45C4-4CD4-B5DF-8D28A32C3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FDA9896E-47BA-4628-93F2-56AB578CE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A8AB84D9-5119-48B5-89A2-640162F27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26AD3207-288E-4A11-B1AD-96A493C07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0239D830-3D99-4162-AA1F-DF166BC7D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3F66FD2F-E8BB-442D-A243-44AEAB7F7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1BF4D799-ACDB-4D70-9553-D93CC8178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97551F32-4689-4188-8BF7-72BE07EBE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9B753901-32BF-4B2D-84F9-1C14BAFB7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2F7E9CF6-926C-4953-A02A-04A0FA557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C6830ACA-034B-4BE5-9E7F-3445FBDC0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13BE26D3-2B7B-4EDE-84E5-A10F488B0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E470B527-61DA-4550-9948-74E1DEB74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1DE4C55D-36B2-4A17-BAEF-59B49665A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5A3F5CD4-6964-4261-B229-CE3A225AE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DB40BBC8-F7D7-48A4-92BB-034209229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65819636-D0B9-4EC7-B957-232903B25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B62BFA49-1033-447A-B195-28AC826E8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CD406170-C25D-44C2-85E2-71FA75E2A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57</c:f>
              <c:numCache>
                <c:formatCode>General</c:formatCode>
                <c:ptCount val="5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numCache>
            </c:numRef>
          </c:xVal>
          <c:yVal>
            <c:numRef>
              <c:f>Sheet1!$B$2:$B$57</c:f>
              <c:numCache>
                <c:formatCode>0%;\-0%;0%</c:formatCode>
                <c:ptCount val="5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numCache>
            </c:numRef>
          </c:yVal>
          <c:bubbleSize>
            <c:numRef>
              <c:f>Sheet1!$C$2:$C$57</c:f>
              <c:numCache>
                <c:formatCode>0%;\-0%;0%</c:formatCode>
                <c:ptCount val="5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numCache>
            </c:numRef>
          </c:bubbleSize>
          <c:bubble3D val="0"/>
          <c:extLst>
            <c:ext xmlns:c15="http://schemas.microsoft.com/office/drawing/2012/chart" uri="{02D57815-91ED-43cb-92C2-25804820EDAC}">
              <c15:datalabelsRange>
                <c15:f>Sheet1!$E$2:$E$57</c15:f>
                <c15:dlblRangeCache>
                  <c:ptCount val="56"/>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0-9B64-4614-A4EF-2F0C825129C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21BF-47A7-B366-E3F0AD114BCE}"/>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3CBE-4AE8-80EA-8E325A05E683}"/>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D010-4ADB-9B73-BF9B36FE3842}"/>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547E9180-BCD2-4FA4-B4D2-2D08596B9E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446E7C25-B206-4086-82BA-364DAD6E29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F2B6EAA6-0F9A-4866-9F5C-421FD0147FF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E5EDDAEE-27CC-4AF6-A8CA-E6504AE112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7F2CFC5B-461D-426A-B106-9FDF970C52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4955D5FD-28C8-4F72-9575-5F147DEAD6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D5478B84-87AE-45FE-8335-118B8FFC90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9A246FB2-8676-4BDA-A362-0037541120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5C6EB62E-3083-4904-8924-A3D8B70C52F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3E98A364-5B83-4AAB-9B15-B090B50A60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B5D1ECF7-212B-4087-867F-1357B71D4F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4529C2B1-04D8-47F4-A6BA-AF7DBA0C01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B89FBE81-DB89-48F8-90CC-762DA33412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98E35F17-8C8F-4F4C-B8CA-8163C6F402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6973279B-A4B6-4B02-A45D-DFE3CF95F8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4A8CF59D-76BD-424F-9B71-2D229546D8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4E209A4A-9613-4BFD-8C8E-1C9B642782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75206650-768C-4D2A-9141-07E560CEBA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9221B39C-8426-47B5-B654-0019992EB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680F669-BDC3-4F5C-B295-81C7BB436B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C92A4F7D-DDB7-4150-96F8-55BD630254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62A0B858-C73A-498E-809F-B95FA04B22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CE598A1A-8CC7-45E3-AFB9-3D2011C8D5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5BA19A1D-7186-45CD-B9BA-DF986BB9CB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77FF9F10-CA49-4CE4-9D7C-7445663CAE4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4ED88D51-9929-442F-89F8-E58F429AF0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532BF652-C512-4A2E-B977-A87C9A6028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40B9A88B-6978-4DAC-8E96-516F8022FD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04E95FED-A17B-468D-973A-6B9DCFD1CC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412660B8-B642-4EB3-B878-D919513D2B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F59BE89D-1746-48E0-B430-66E719AB09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7B2B58A2-26D3-4B37-9968-465261070E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7F3AEEA5-4BD8-4798-B263-67A99616F9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FE558CCB-1208-46B4-B6C2-9E97F2F4CF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6F44B294-423A-49C0-A942-4B63E9B61EE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F65C0037-7FA5-47C8-867B-A03B899A83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FF9CA8BB-989E-47D9-9AA2-F17A4BC91CD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9BEBD288-98B2-4DBF-8A62-2793CD84B3C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47434B95-190C-44CD-9E35-0ECFD0C89C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8B8FD853-34AF-416D-B74D-9F610C4ABD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691B7ADC-FDB0-4533-8EED-85ACB93475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33106F3C-ABF9-4EA0-B8DE-760457A1EB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0BA3EF65-7474-4CF4-9917-F8DABAC5C1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61152E6B-C7EE-44C2-BD2F-C7738111F9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2BA520D8-71D1-4A4F-A664-B2ED270899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6F2B3FC4-C694-4E49-9450-D4D6A5084E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2916E917-0F37-46B1-8235-CACAC98D61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9E0A24CC-E907-4403-AA7D-E52D7CF26C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H$1</c:f>
              <c:strCache>
                <c:ptCount val="1"/>
                <c:pt idx="0">
                  <c:v>Total Beer</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H$2:$H$37</c:f>
              <c:numCache>
                <c:formatCode>0%</c:formatCode>
                <c:ptCount val="36"/>
                <c:pt idx="0">
                  <c:v>0.95546131454801952</c:v>
                </c:pt>
                <c:pt idx="1">
                  <c:v>1.0658820616078615</c:v>
                </c:pt>
                <c:pt idx="2">
                  <c:v>1.2845151692566505</c:v>
                </c:pt>
                <c:pt idx="3">
                  <c:v>1.3313017548720483</c:v>
                </c:pt>
                <c:pt idx="4">
                  <c:v>1.1068184803119951</c:v>
                </c:pt>
                <c:pt idx="5">
                  <c:v>0.94899677223263834</c:v>
                </c:pt>
                <c:pt idx="6">
                  <c:v>0.83477183537813959</c:v>
                </c:pt>
                <c:pt idx="7">
                  <c:v>0.84011161209200691</c:v>
                </c:pt>
                <c:pt idx="8">
                  <c:v>0.77917016473858225</c:v>
                </c:pt>
                <c:pt idx="9">
                  <c:v>0.71206172491546882</c:v>
                </c:pt>
                <c:pt idx="10">
                  <c:v>0.81106709556909162</c:v>
                </c:pt>
                <c:pt idx="11">
                  <c:v>0.9277477499727792</c:v>
                </c:pt>
                <c:pt idx="12">
                  <c:v>1.0920086483852394</c:v>
                </c:pt>
                <c:pt idx="13">
                  <c:v>1.1645640879461192</c:v>
                </c:pt>
                <c:pt idx="14">
                  <c:v>1.3394712489027132</c:v>
                </c:pt>
                <c:pt idx="15">
                  <c:v>1.385364724773833</c:v>
                </c:pt>
                <c:pt idx="16">
                  <c:v>1.09543210519944</c:v>
                </c:pt>
                <c:pt idx="17">
                  <c:v>0.98674858460748094</c:v>
                </c:pt>
                <c:pt idx="18">
                  <c:v>0.84917082857101733</c:v>
                </c:pt>
                <c:pt idx="19">
                  <c:v>0.85719303641823441</c:v>
                </c:pt>
                <c:pt idx="20">
                  <c:v>0.78197004161366457</c:v>
                </c:pt>
                <c:pt idx="21">
                  <c:v>0.69703071129708638</c:v>
                </c:pt>
                <c:pt idx="22">
                  <c:v>0.79071387982439756</c:v>
                </c:pt>
                <c:pt idx="23">
                  <c:v>0.88455450114308931</c:v>
                </c:pt>
                <c:pt idx="24">
                  <c:v>1.0196652421871197</c:v>
                </c:pt>
                <c:pt idx="25">
                  <c:v>1.1154654321101694</c:v>
                </c:pt>
                <c:pt idx="26">
                  <c:v>1.3246385889547703</c:v>
                </c:pt>
                <c:pt idx="27">
                  <c:v>1.3903689367482381</c:v>
                </c:pt>
                <c:pt idx="28">
                  <c:v>1.2142901567469886</c:v>
                </c:pt>
                <c:pt idx="29">
                  <c:v>1.0101815115591093</c:v>
                </c:pt>
                <c:pt idx="30">
                  <c:v>0.86238905481134409</c:v>
                </c:pt>
                <c:pt idx="31">
                  <c:v>0.90873194300402316</c:v>
                </c:pt>
                <c:pt idx="32">
                  <c:v>0.90889323356956364</c:v>
                </c:pt>
                <c:pt idx="33">
                  <c:v>0.95210305170981779</c:v>
                </c:pt>
                <c:pt idx="34">
                  <c:v>1.0118490056185914</c:v>
                </c:pt>
                <c:pt idx="35">
                  <c:v>1.1271547091020271</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A5C6A0BC-D2EF-484D-B676-03B1AC4AEC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F170299B-C718-41AC-8861-8DCE853362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3D0121A2-5E63-48BC-A5D6-977E647865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350369B-4373-4528-AF77-0EC1604B06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6D204820-4D68-4A50-A4AB-57A91D5D4A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C3CCC28A-20EE-4275-AE88-09D2418C6E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78F706E-5077-40A8-BE23-009F5E9B22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582B502-A3D8-4359-9932-8421A7AF57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313EBCB-20E0-4FA9-959F-75F61E7C55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E341076-A6FE-4811-90DF-40AA7E5003C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885537DC-519B-4361-9D1B-7AA6B5694D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D6BF5CC9-651F-4B64-9AFA-1A73531370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DEDC6CA-081A-472A-96EF-6A73133493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216E1A8B-60BE-404A-8950-868622E64C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82FF66B-2416-4065-B166-CCEFC2AA67F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615FBE2F-B313-43E9-A670-D9E4218ECE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3755D66B-82C9-49F3-8B51-B77084B406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0686903F-4E50-4097-BDFB-88355A8B18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0506BEF4-4E38-4676-A002-E6DB6266DB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412FF541-73DF-46D7-9F04-29195B6C5F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B99983E3-F8B0-4985-A67E-0A1AC929CE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72F31972-F79E-4A6C-A244-15BD752DF0D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8BE0FF6B-C8A1-4CB2-A9A5-BDAD4A3271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8A95479C-2EFD-4BAA-81D0-A0A4098D3FA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D130FCE3-7302-4037-BF9E-2A7930BE30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1559B190-B876-4C69-9203-943E4D726A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673B27E2-BF24-40A0-95B2-59B3958815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E373AB27-7B19-48ED-9C80-5EC73C7889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B5901F54-F7C6-4094-92DC-C5963FFAF4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92D5C5D2-809A-4641-ABD8-977083AA982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BBE064F9-046C-426C-9A8E-BD224D70D4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690C6B98-FFDB-4EB4-BFD0-F2740DC272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24B8392-A900-4B13-B979-519785B56F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D6E598B-FDF1-466D-93FA-D6C12EB686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A136E16E-C7B7-4195-9048-87D02CAB58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C9EE2F1-50C1-427E-BCCF-B544473BBB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DA471B3-7DFB-4E0A-984A-B89DD18917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3CB634C-7ED8-400F-A15A-36A2ED7451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BC81C0A8-C977-49FB-BE1F-99D62728F0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41AB723-2B78-4568-A88E-A3D5B5787F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76A6CF2-C71B-4353-A155-282EF004E3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A0F412A-FA6A-4B8F-BD2C-61F7BC2E0E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FB978C11-FDDB-4145-84D9-E46BDA6011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B9B6729-7C62-437B-AE96-2980A3CF07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BE1131D-2296-4CFC-8D1A-85848F3D36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8103A91B-0548-4F64-A851-62C3CA5D42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A9933C4-069B-44D4-BADC-884BDC1AB8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D0C62C-9D84-402A-A139-0053E7D275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EEE10EA7-2F46-41E0-B727-4659927BD3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381A2413-6BD0-4079-8C9A-481B637860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7171F00-EB86-4328-82B1-A253971B9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F2C9AB-FBE1-4475-8267-7D1C6EF7D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3797D993-3437-4E3E-9172-1E30AB15C0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8B03B16-DC24-4A2F-90BF-B04EE3545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3AC5E2C-2C6E-4B0A-B0A6-725B45459B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397F4EA1-2B28-421A-A9AA-0038E7CD15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DBC9847D-711C-40A8-A94C-03142B1E61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D517965-DC9C-4FE5-9F3D-30F3967F19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5B93807C-D0E8-41E5-B352-72FA8D878E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5E6D122-44CC-4DA8-91DB-166E340ACC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C82682B-471C-48F2-8F6D-70EF6A0662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8DAE423A-3D64-4F9A-AEC7-47FFAC8645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A4B591C-F0A7-4E74-BA72-B381A8B5D8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3619FA-0CF8-4C50-937F-AA394ADE57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036999B4-618E-4814-AF2A-559DB3263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9588BA52-991F-4F49-8FEA-5189DAFDE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770045DD-264B-4C6D-A6FB-38DC20E5A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916B399F-C704-42C9-A534-343B3F2DB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298B87BA-3660-429D-9832-87CBDC60D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3C5AEAF2-EE8D-46BF-BE74-6512FA772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96420635-0393-4866-B0D6-9E3CD8662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F3CE3320-8EB6-4954-BE68-BCE422653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B5E0CB25-0C18-4278-A747-E953C1DF5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C9668A6A-586A-45B5-8848-184C94C46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ED65D15C-12DD-41DD-9D31-6A30D4528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6A24A859-BE4A-4A30-AEC9-7ABB08423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AC16EF27-0769-413C-B52F-7FCF1A6DF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B713CEA0-A188-409F-95C6-136E01495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31671CCE-37ED-42A6-BF0C-5A18FC0F6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1CABFE14-A4CC-4065-8E8E-6A8141B14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0E6F8153-32BC-4CEF-AF27-F32547E53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A6FD5D72-BBF6-4865-A95D-5ED05180D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45BA692D-2704-40EA-8A2D-A4F54F46D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027E8589-A2DB-4E23-A7FB-274542C50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CE9B2B08-3544-4C9F-9C9B-9ABA0BA92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BC282E09-E96C-46AD-B576-1EB83B2D2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0752E7C6-3E0D-480E-8EBB-10259AB90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6980AC0A-8CE3-4325-9627-589D80958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09C38406-FB79-4D3C-B0B2-AD8488B75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D0CAF163-F18D-4F91-964B-8FE794F9A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19B3F2AA-AE5E-41E2-A943-95BE1C876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9DACF0A0-17D7-4284-B3AD-6784E92AC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48A9F448-4785-4F28-8F1B-C6C77606A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E5CFFED6-F139-4B22-8EA2-E404A88FA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7F8E0AA8-5F9E-4459-83BB-140072E10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F9EB8A94-E56D-4538-B17F-296E59FB9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3591AA64-CE6F-4C7A-A53A-0F7EB8968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D39C7C80-2EA9-4576-8282-C2792956D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DF2F1200-B95B-47F8-9D10-E7BC981FB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E5C5F430-6C52-4C1E-AEA2-92576BBA2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ADDBFB44-F5F0-49B4-9C37-E8DBA4136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9B3F1620-EEB9-4DF9-9E7C-00CCD41B3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248EB0E8-F2D6-4DFE-B51D-DA3BC284D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D7C9B393-F68F-4CB0-8153-499B7CF1F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D4208741-8790-4633-8B6D-55F7147F0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6A116CF5-93D3-4DC0-907E-7138851D0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B233EEC1-FBAB-431E-B944-2A0B0238C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529D6619-5E00-488A-A748-B205EFC75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975E6E51-15B8-46FB-9ECC-F8A7C7FAC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0669D47F-A3B9-495D-A31D-763ABC7E5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0D498F14-6D92-4C06-951A-EDCEC989A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5687A7B4-D7EE-4099-94B9-38FD47962A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A2D59A40-F473-4A77-970A-2089CCFBE68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719FBD2B-728C-4441-8571-15220D409A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0C8D38AE-71B9-428A-A7CE-6660F93A4F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44B70F89-0EE7-4DC5-A7DB-5E73A7C375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25D5150F-8680-452E-8BE6-90A2734664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D1F7C3D8-CA88-4387-BF66-8D6BEFBCE0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1845B9FF-9A4D-402C-B332-B94C54F667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C8B5EEDC-8604-498A-AF87-6E124E99C3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D61AD10C-1DA0-475F-A3E1-A6ECB66951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5FCB9C08-EDC3-467D-AEDE-43211037D43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83093257-7DBE-4AAE-B035-A97EBDE434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205D8B3F-C83B-485D-B328-33EA6CC2791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9D3E86D2-8D87-4B20-9BBE-0B32D0EB64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5A7203F5-3153-4490-9572-8CEBF1AF6D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9E036D4E-AA32-4EB8-8015-2791D28EF0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59C295E6-CE98-4175-8CF8-D083D2D0DA7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A01D1426-253C-49FA-A867-3942821621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EEA0C8D2-2524-4289-A829-D486A7A0B50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C98D47AD-C4B1-4940-8592-2CECC48F0DD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E3369B8A-D106-4AFC-B452-645B000C20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1E93429A-9424-4F8E-AE78-CB0FB978AD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635E9B43-D278-45C7-A70D-4960FC0427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192E9D27-C8B5-44CD-8D65-95E54CDF7A1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43151C58-EC12-474B-8A08-5C8310DEC8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3F047A9C-D9D9-4A65-93C7-136ED084BB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435C5ED3-64CA-4559-9FA7-A3B0AF16E8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CAF0FF1E-AA76-4BB1-A5A7-122FB695D1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E6EB6094-68D4-4746-9FED-FF5315FF99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5180C40B-B06B-440F-9883-AAF1198C8F0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FE76F2AB-F886-4A19-9173-80758D8CE7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2B014969-D124-4BFD-8829-164C427CCD5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AD903AE0-FB0E-447D-ABA8-DBE0B9E628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5B6B8CF5-D1F9-425C-97A9-0779B3A39F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F80D00E-2AE2-4CDE-84AE-6646B54D49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5131E3C4-EA8F-426B-8CEA-BA9523BD0A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A6DA9FCE-4AA3-49C0-B05C-6CBA0D2CE0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71EBF1B9-5389-41AF-BB72-E0C82EEB6A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AD34D4BC-7CA1-4E25-AB5D-B4DED1C1B9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227DC4BE-34A9-4F07-8597-A85263DBCAB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DC4E7DBA-3E18-49FE-B0E5-726BA5805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31569E4B-890B-4F02-8409-1C120A7F01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1425330E-EB61-428D-A486-9BFC796A12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9184EB08-9C6C-4DC6-8D51-1B77104405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0717640A-9340-48F7-8094-66D865C27B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125EDC37-76B0-46AD-BCBF-E4082C6B9A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7732B7ED-428E-4BAE-A093-11B80AC59B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4D91DEED-17F8-4CBD-8E40-FD4A39BD50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97668230-54CA-49A9-893E-46CE96C4B7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60EECC9F-F150-4339-9B4F-2176CFE3457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126DFA80-3645-42B4-9437-131310E55D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44D89338-AC90-430C-B54E-B2E24A6BAE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DF93DEF3-2946-46EF-ADE0-5498C4D6F5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E0ABB6BA-FDAB-4BC6-BB7F-1FFD7AE836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209567B5-C6CA-4DF4-8C01-BA0B004EF2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0B58487D-9B74-4760-80A5-CDC5C520A8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2BAE012A-9F9B-4883-8F82-F99730EFE7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0E77B37F-3BF6-47BE-983D-C106016A10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ECC86012-8227-4523-A04C-FB8E9396B11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3DE2FD97-4D07-4AD1-AD1C-B610C82DAD9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988F9B62-8C21-415F-88D2-619DC6C84D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61EFE56E-E4FD-453D-94F1-B9B77FCCB6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9415BBC1-6CDD-4C54-AE2C-4150B99BE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FCC373BC-E4B8-40B4-B4AB-8157FF116C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C59D5B7A-0E85-43AA-9580-485DFEE2D0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DE140148-E73D-4FDD-99D5-4ED495A034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1EAA8CDE-0860-4D7D-9216-6B0C6DD9C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A43EDF67-913F-4F2E-8BE4-E3A2881E7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EA107FAC-EBC0-4890-9CBE-B3F0493D7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979916B1-E08B-4D77-A904-BD2B5EEE2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65329FA4-19CE-4F5F-A9EC-6315C72DB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0777DA15-108E-417E-B283-503EAC202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AAC79965-7CD1-4F3B-A21F-3C7D5BED4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7CDFF339-EEF3-45AA-B972-C292AFE8F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8CA99EA7-23D4-42D5-91E3-2453E9A37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5F254BEB-D4ED-43CE-8012-01C887C07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E05A8D47-948E-4EAF-AD68-34517C6E7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4DF96B97-2941-4BA1-A70A-24411D7A5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2344AE27-6BB8-4971-98EF-4503BC4B4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4CFE03C3-B060-4D8E-9559-439EE88D9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2EB1AC6E-3740-4F28-9879-77A47A22C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324F1A37-C376-458F-B8E3-A1744EC19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6033E379-1E78-4CD0-A00E-3D5FF4AA2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4518CBF7-9616-4EC2-8912-8C6739016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D377E937-B99C-4666-A62F-CCF9433F0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34F7F8EF-F58E-4413-94DA-64F21F86C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A4BC58AE-7E48-40E8-8521-4E63104F5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F373058B-174C-49C3-9F7B-0FC255F62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F6017106-9EC9-425E-B7F2-B9E37E587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BFFF46F5-FD94-432B-B048-920B743B0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B3A7D4E7-C98D-47F1-BE84-C005E62E4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2BA89993-A1C7-48A6-8235-57EF59B16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59C62FD6-9D17-44EB-954E-ADA0CB797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C6845B4C-674E-4483-8BF5-222D2BD82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C6A7E99E-2014-4B15-B6C4-5E8D30B02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BF921D17-A7ED-4A3B-AD90-F126D1D28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38711D06-C3E3-43F8-A46D-616F77B1B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D099864E-01AD-40A8-AD4C-87B91ED78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C516F129-A3F1-4959-8C36-696E5F1F6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1EE7D7AD-8383-475B-A93B-4B3C1692E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1F997C32-2B90-45F5-BC3F-20EA736BA3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B84ACB84-8D43-4586-9011-7261558867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E36B7852-A363-4A97-B90B-BEECAC4130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C1246EE7-FB05-4659-9B25-01B135C443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358E648D-8E9B-4956-A076-44F2A7B7BF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9EEFC47F-8E14-45A8-9405-568C40CF877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FFB9A23C-9464-4330-9119-421E1FB55C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315C4D06-1C24-494B-9E09-585F78B60AB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27CF11B2-B552-41E1-BD6D-83CA50FFBA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1BB68B22-B0C0-4006-9056-3748007DE7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1E210589-64EA-4E14-8543-7ECEEEB29C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2F9C56E2-12F4-4650-B22C-BF3EB2E49A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CBAD240B-0E21-4A54-83B4-CAAE71F63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E20DF19E-09E5-4F33-9097-381B4A54A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2CB93E37-BC38-49DD-A172-238742092F2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9F39EEBA-E9DF-46A5-B156-CB3D6EBF23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2CF767F5-A2B9-4DD8-8AC1-CC88E69263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CA2C7463-43F4-45A8-A092-49A7D02688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EE4F7404-3338-4CE3-9084-8638192E96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E8C8B36C-705D-49CF-9020-EC3982BD76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9856B1A0-5D4B-4483-AE0C-3E53AEC33A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1DAA4643-A863-477E-A732-CD6A76DDC3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D80913A4-7758-4487-BA12-D75CA6BD454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5D5099B3-7842-4777-B263-9B6FBB6BFB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32C4406C-5872-40ED-9E53-F29219D867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3D1AFAD4-8986-47B8-B730-A23BEB9C0C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06D5F968-1ECD-4DCA-AC93-2691AA9682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9570DB4B-5BD3-4FFB-B097-FE1D5A138A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67C4F701-C031-46D1-9BF0-7524FED46D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A42934A4-4AC2-4CB7-94D0-9439F9581D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C5A7D7FA-C8BC-4DAF-B538-5C2441CCB3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71DEE16B-83D6-461E-A6B3-6E802E281F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08/05/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5/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5/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5/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5/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5/8/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1.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2.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4.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6.xml"/><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30.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oleObject" Target="../embeddings/oleObject30.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31.emf"/><Relationship Id="rId9" Type="http://schemas.openxmlformats.org/officeDocument/2006/relationships/chart" Target="../charts/chart40.xml"/></Relationships>
</file>

<file path=ppt/slides/_rels/slide2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2.xml"/><Relationship Id="rId5" Type="http://schemas.openxmlformats.org/officeDocument/2006/relationships/image" Target="../media/image31.emf"/><Relationship Id="rId10" Type="http://schemas.openxmlformats.org/officeDocument/2006/relationships/chart" Target="../charts/chart46.xml"/><Relationship Id="rId4" Type="http://schemas.openxmlformats.org/officeDocument/2006/relationships/oleObject" Target="../embeddings/oleObject30.bin"/><Relationship Id="rId9" Type="http://schemas.openxmlformats.org/officeDocument/2006/relationships/chart" Target="../charts/chart4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notesSlide" Target="../notesSlides/notesSlide10.xml"/><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notesSlide" Target="../notesSlides/notesSlide11.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5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5/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3478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5/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9838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5/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7321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1203786059"/>
              </p:ext>
            </p:extLst>
          </p:nvPr>
        </p:nvGraphicFramePr>
        <p:xfrm>
          <a:off x="545319" y="1135374"/>
          <a:ext cx="8083425" cy="3191253"/>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245481">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45481">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45481">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45481">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45481">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45481">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45481">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45481">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45481">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45481">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245481">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245481">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245481">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lvl="0"/>
            <a:fld id="{2AF1C2FF-ACA0-49C7-A9AF-43632D3B35F3}" type="datetime1">
              <a:rPr lang="en-US" noProof="0" smtClean="0"/>
              <a:pPr lvl="0"/>
              <a:t>5/8/2025</a:t>
            </a:fld>
            <a:endParaRPr lang="en-US" noProof="0"/>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lvl="0"/>
            <a:endParaRPr lang="en-US" noProof="0"/>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815123151"/>
              </p:ext>
            </p:extLst>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546597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870992-F0EF-B48B-C512-CAB0263607E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0870992-F0EF-B48B-C512-CAB0263607E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ECE2348F-4A5E-4377-BC6E-44DA80E64CED}" type="datetime1">
              <a:rPr lang="en-US" noProof="0" smtClean="0"/>
              <a:pPr lvl="0"/>
              <a:t>5/8/2025</a:t>
            </a:fld>
            <a:endParaRPr lang="en-US" noProof="0"/>
          </a:p>
        </p:txBody>
      </p:sp>
      <p:sp>
        <p:nvSpPr>
          <p:cNvPr id="9" name="Footer Placeholder 8">
            <a:extLst>
              <a:ext uri="{FF2B5EF4-FFF2-40B4-BE49-F238E27FC236}">
                <a16:creationId xmlns:a16="http://schemas.microsoft.com/office/drawing/2014/main" id="{4DCD2A08-01E5-6C57-C2F4-7845774327A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E87B52AC-8018-1DEA-CAEA-DD623D44C3F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dirty="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dirty="0"/>
              <a:t>Feature</a:t>
            </a:r>
            <a:r>
              <a:rPr lang="en-AE" dirty="0"/>
              <a:t> </a:t>
            </a:r>
            <a:r>
              <a:rPr lang="en-US" dirty="0"/>
              <a:t>Share vs. Fair Share </a:t>
            </a:r>
            <a:r>
              <a:rPr lang="en-US"/>
              <a:t>| Retailer </a:t>
            </a:r>
            <a:r>
              <a:rPr lang="en-AE" dirty="0"/>
              <a:t>| </a:t>
            </a:r>
            <a:r>
              <a:rPr lang="en-US" dirty="0"/>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Feature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36849936"/>
              </p:ext>
            </p:extLst>
          </p:nvPr>
        </p:nvGraphicFramePr>
        <p:xfrm>
          <a:off x="537483" y="1137274"/>
          <a:ext cx="8096662" cy="35950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0521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1BD8230-08F6-6B04-600B-F5771ED4BCB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41BD8230-08F6-6B04-600B-F5771ED4BCB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4AF59A4A-DBA3-4B15-9761-DDCAB7C5C67C}" type="datetime1">
              <a:rPr lang="en-US" noProof="0" smtClean="0"/>
              <a:pPr lvl="0"/>
              <a:t>5/8/2025</a:t>
            </a:fld>
            <a:endParaRPr lang="en-US" noProof="0"/>
          </a:p>
        </p:txBody>
      </p:sp>
      <p:sp>
        <p:nvSpPr>
          <p:cNvPr id="9" name="Footer Placeholder 8">
            <a:extLst>
              <a:ext uri="{FF2B5EF4-FFF2-40B4-BE49-F238E27FC236}">
                <a16:creationId xmlns:a16="http://schemas.microsoft.com/office/drawing/2014/main" id="{577D2D85-84DF-541E-528E-A6A57B5D4C3C}"/>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C09D557A-3BE9-D9F6-C3E6-D81AC7A58AB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Display</a:t>
            </a:r>
            <a:r>
              <a:rPr lang="en-AE"/>
              <a:t> </a:t>
            </a:r>
            <a:r>
              <a:rPr lang="en-US"/>
              <a:t>Share vs. Fair Share | Retailer </a:t>
            </a:r>
            <a:r>
              <a:rPr lang="en-AE"/>
              <a:t>| </a:t>
            </a:r>
            <a:r>
              <a:rPr lang="en-US"/>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Display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22046809"/>
              </p:ext>
            </p:extLst>
          </p:nvPr>
        </p:nvGraphicFramePr>
        <p:xfrm>
          <a:off x="540726" y="1137272"/>
          <a:ext cx="8096662" cy="35968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0720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5/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6837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5/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4371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5/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64579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5/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1950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5/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7345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5/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735736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5/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07607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764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7934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8/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fontAlgn="b"/>
                      <a:r>
                        <a:rPr lang="en-US" sz="800" b="0" kern="1200" dirty="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446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5202D-A6C3-32ED-9277-F1702C91ADE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9A04BAD-47BC-2298-1C16-B4C36E5DCA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7EF4ADA-B7D7-369C-A15C-4B55E08410F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8/2025</a:t>
            </a:fld>
            <a:endParaRPr lang="en-US" noProof="0"/>
          </a:p>
        </p:txBody>
      </p:sp>
      <p:sp>
        <p:nvSpPr>
          <p:cNvPr id="4" name="Footer" hidden="1">
            <a:extLst>
              <a:ext uri="{FF2B5EF4-FFF2-40B4-BE49-F238E27FC236}">
                <a16:creationId xmlns:a16="http://schemas.microsoft.com/office/drawing/2014/main" id="{678C2E9D-5AF4-53D6-B317-3A070178575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8E811E2-3B37-F4EB-21D5-6CED2A47B20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15" name="Data Source">
            <a:extLst>
              <a:ext uri="{FF2B5EF4-FFF2-40B4-BE49-F238E27FC236}">
                <a16:creationId xmlns:a16="http://schemas.microsoft.com/office/drawing/2014/main" id="{89910504-1DAA-5B13-AAC8-EE6F2AE94A85}"/>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8DE4D359-B6FF-DFAA-C099-A1C1B7AAA676}"/>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6C45166-D38E-1C96-444C-127C8300032B}"/>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81483C84-291D-696C-5801-C6D78552189A}"/>
              </a:ext>
            </a:extLst>
          </p:cNvPr>
          <p:cNvGraphicFramePr>
            <a:graphicFrameLocks noGrp="1"/>
          </p:cNvGraphicFramePr>
          <p:nvPr>
            <p:extLst>
              <p:ext uri="{D42A27DB-BD31-4B8C-83A1-F6EECF244321}">
                <p14:modId xmlns:p14="http://schemas.microsoft.com/office/powerpoint/2010/main" val="306748637"/>
              </p:ext>
            </p:extLst>
          </p:nvPr>
        </p:nvGraphicFramePr>
        <p:xfrm>
          <a:off x="543331" y="1131888"/>
          <a:ext cx="303523" cy="3449528"/>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862382">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862382">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862382">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862382">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C57BF963-75C8-3509-DF34-736E47CD2177}"/>
              </a:ext>
            </a:extLst>
          </p:cNvPr>
          <p:cNvGraphicFramePr>
            <a:graphicFrameLocks/>
          </p:cNvGraphicFramePr>
          <p:nvPr>
            <p:extLst>
              <p:ext uri="{D42A27DB-BD31-4B8C-83A1-F6EECF244321}">
                <p14:modId xmlns:p14="http://schemas.microsoft.com/office/powerpoint/2010/main" val="1633204920"/>
              </p:ext>
            </p:extLst>
          </p:nvPr>
        </p:nvGraphicFramePr>
        <p:xfrm>
          <a:off x="905321" y="1131888"/>
          <a:ext cx="7740000" cy="8297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2">
            <a:extLst>
              <a:ext uri="{FF2B5EF4-FFF2-40B4-BE49-F238E27FC236}">
                <a16:creationId xmlns:a16="http://schemas.microsoft.com/office/drawing/2014/main" id="{EF638191-9AD3-F53C-53D9-07617BF27424}"/>
              </a:ext>
            </a:extLst>
          </p:cNvPr>
          <p:cNvGraphicFramePr>
            <a:graphicFrameLocks/>
          </p:cNvGraphicFramePr>
          <p:nvPr>
            <p:extLst>
              <p:ext uri="{D42A27DB-BD31-4B8C-83A1-F6EECF244321}">
                <p14:modId xmlns:p14="http://schemas.microsoft.com/office/powerpoint/2010/main" val="974424976"/>
              </p:ext>
            </p:extLst>
          </p:nvPr>
        </p:nvGraphicFramePr>
        <p:xfrm>
          <a:off x="899999" y="1966133"/>
          <a:ext cx="7740000" cy="8815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2">
            <a:extLst>
              <a:ext uri="{FF2B5EF4-FFF2-40B4-BE49-F238E27FC236}">
                <a16:creationId xmlns:a16="http://schemas.microsoft.com/office/drawing/2014/main" id="{12FB3567-7AEE-DDCE-0F01-65DD58CA4903}"/>
              </a:ext>
            </a:extLst>
          </p:cNvPr>
          <p:cNvGraphicFramePr>
            <a:graphicFrameLocks/>
          </p:cNvGraphicFramePr>
          <p:nvPr>
            <p:extLst>
              <p:ext uri="{D42A27DB-BD31-4B8C-83A1-F6EECF244321}">
                <p14:modId xmlns:p14="http://schemas.microsoft.com/office/powerpoint/2010/main" val="3691157756"/>
              </p:ext>
            </p:extLst>
          </p:nvPr>
        </p:nvGraphicFramePr>
        <p:xfrm>
          <a:off x="907981" y="2852145"/>
          <a:ext cx="7740000" cy="838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2">
            <a:extLst>
              <a:ext uri="{FF2B5EF4-FFF2-40B4-BE49-F238E27FC236}">
                <a16:creationId xmlns:a16="http://schemas.microsoft.com/office/drawing/2014/main" id="{64B9AD7D-6434-9BA5-BAEF-8937575651AC}"/>
              </a:ext>
            </a:extLst>
          </p:cNvPr>
          <p:cNvGraphicFramePr>
            <a:graphicFrameLocks/>
          </p:cNvGraphicFramePr>
          <p:nvPr>
            <p:extLst>
              <p:ext uri="{D42A27DB-BD31-4B8C-83A1-F6EECF244321}">
                <p14:modId xmlns:p14="http://schemas.microsoft.com/office/powerpoint/2010/main" val="1504638670"/>
              </p:ext>
            </p:extLst>
          </p:nvPr>
        </p:nvGraphicFramePr>
        <p:xfrm>
          <a:off x="902660" y="3695102"/>
          <a:ext cx="7740000" cy="103765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4663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8/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fontAlgn="b"/>
                      <a:r>
                        <a:rPr lang="en-US" sz="800" b="0" kern="1200" dirty="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44918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5/8/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r>
              <a:rPr lang="en-US" dirty="0"/>
              <a:t>Seasonality Index | By Sector | National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fontAlgn="b"/>
                      <a:r>
                        <a:rPr lang="en-US" sz="800" b="0" kern="1200">
                          <a:solidFill>
                            <a:srgbClr val="575555"/>
                          </a:solidFill>
                          <a:latin typeface="Nexa Bold"/>
                          <a:ea typeface="+mn-ea"/>
                          <a:cs typeface="+mn-cs"/>
                        </a:rPr>
                        <a:t>Beer</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fontAlgn="b"/>
                      <a:r>
                        <a:rPr lang="en-US" sz="800" b="0" kern="120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fontAlgn="b"/>
                      <a:r>
                        <a:rPr lang="en-US" sz="800" b="0" kern="120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fontAlgn="b"/>
                      <a:r>
                        <a:rPr lang="en-US" sz="800" b="0" kern="120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21989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5/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1647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2466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5/8/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99852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649471997"/>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777549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8508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5/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99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5/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48136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5/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3722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5/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806592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5/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93699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5/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663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2.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3</TotalTime>
  <Words>3806</Words>
  <Application>Microsoft Office PowerPoint</Application>
  <PresentationFormat>On-screen Show (16:9)</PresentationFormat>
  <Paragraphs>1399</Paragraphs>
  <Slides>30</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3"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evolution (Replace With SO WHAT)</vt:lpstr>
      <vt:lpstr>VSOD Summary by Sector (Replace With SO WHAT)</vt:lpstr>
      <vt:lpstr>Value uplift by retailer by brand (Replace With SO WHAT)</vt:lpstr>
      <vt:lpstr>Volume Uplift vs discount depth (Replace With SO WHAT)</vt:lpstr>
      <vt:lpstr>Value Uplift vs Promo Efficiency Quadrant (Replace With SO WHAT)</vt:lpstr>
      <vt:lpstr>Top 20 promotions (Replace With SO WHAT)</vt:lpstr>
      <vt:lpstr>Top 20 promotions CLIENT ONLY (Replace With SO WHAT)</vt:lpstr>
      <vt:lpstr>Bottom 20 promotions CLIENT ONLY (Replace With SO WHAT)</vt:lpstr>
      <vt:lpstr>Volume Sold on Deal (Replace With SO WHAT)</vt:lpstr>
      <vt:lpstr>Promo share vs Value Share (Replace With SO WHAT)</vt:lpstr>
      <vt:lpstr>Promo Sales by total size (Replace With SO WHAT)</vt:lpstr>
      <vt:lpstr>Promo Sales by promo type (Replace With SO WHAT)</vt:lpstr>
      <vt:lpstr>Feature Share vs. Fair Share (Replace With SO WHAT)</vt:lpstr>
      <vt:lpstr>Display Share vs. Fair Share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54</cp:revision>
  <dcterms:created xsi:type="dcterms:W3CDTF">2024-07-08T12:46:55Z</dcterms:created>
  <dcterms:modified xsi:type="dcterms:W3CDTF">2025-05-08T12:4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